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sldIdLst>
    <p:sldId id="256" r:id="rId2"/>
    <p:sldId id="257" r:id="rId3"/>
    <p:sldId id="266" r:id="rId4"/>
    <p:sldId id="259" r:id="rId5"/>
    <p:sldId id="260" r:id="rId6"/>
    <p:sldId id="268" r:id="rId7"/>
    <p:sldId id="262" r:id="rId8"/>
    <p:sldId id="264" r:id="rId9"/>
    <p:sldId id="265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vin Cieslik" initials="KC" lastIdx="6" clrIdx="0">
    <p:extLst>
      <p:ext uri="{19B8F6BF-5375-455C-9EA6-DF929625EA0E}">
        <p15:presenceInfo xmlns:p15="http://schemas.microsoft.com/office/powerpoint/2012/main" userId="88b166e5c4671c4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82AC"/>
    <a:srgbClr val="FFFFFF"/>
    <a:srgbClr val="D2EF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0" d="100"/>
          <a:sy n="50" d="100"/>
        </p:scale>
        <p:origin x="477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18T01:06:44.951" idx="1">
    <p:pos x="10" y="10"/>
    <p:text>"In our scenario, there are many families living in the suburban neighbourhood. There are many examples for the demand of transportation.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08:46.280" idx="2">
    <p:pos x="146" y="146"/>
    <p:text>Many families have routines, for ex., the parents bring their kids to school every morning, or maybe the mom ha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29:59.296" idx="3">
    <p:pos x="-64" y="452"/>
    <p:text>incentive with discount-&gt; tenants use the carsharing service for their frequent trip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1:35.265" idx="4">
    <p:pos x="282" y="282"/>
    <p:text>they book the same time slot of a weekday for a long time in advance, maybe on a weekly, bi-weekly or monthly basi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3:09.052" idx="5">
    <p:pos x="282" y="418"/>
    <p:text>advantage not only money, but also safety/no worries about availablity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  <p:cm authorId="1" dt="2019-10-18T01:34:22.097" idx="6">
    <p:pos x="282" y="554"/>
    <p:text>for landlord, who offers cars, planning safety and higher utilization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18T01:06:44.951" idx="1">
    <p:pos x="10" y="10"/>
    <p:text>"In our scenario, there are many families living in the suburban neighbourhood. There are many examples for the demand of transportation.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08:46.280" idx="2">
    <p:pos x="146" y="146"/>
    <p:text>Many families have routines, for ex., the parents bring their kids to school every morning, or maybe the mom ha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29:59.296" idx="3">
    <p:pos x="-64" y="452"/>
    <p:text>incentive with discount-&gt; tenants use the carsharing service for their frequent trip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1:35.265" idx="4">
    <p:pos x="282" y="282"/>
    <p:text>they book the same time slot of a weekday for a long time in advance, maybe on a weekly, bi-weekly or monthly basi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3:09.052" idx="5">
    <p:pos x="282" y="418"/>
    <p:text>advantage not only money, but also safety/no worries about availablity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  <p:cm authorId="1" dt="2019-10-18T01:34:22.097" idx="6">
    <p:pos x="282" y="554"/>
    <p:text>for landlord, who offers cars, planning safety and higher utilization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/>
      <dgm:spPr/>
      <dgm:t>
        <a:bodyPr/>
        <a:lstStyle/>
        <a:p>
          <a:r>
            <a:rPr lang="de-DE" dirty="0" err="1"/>
            <a:t>low</a:t>
          </a:r>
          <a:r>
            <a:rPr lang="de-DE" dirty="0"/>
            <a:t> rate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utilization</a:t>
          </a:r>
          <a:endParaRPr lang="de-DE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/>
      <dgm:spPr/>
      <dgm:t>
        <a:bodyPr/>
        <a:lstStyle/>
        <a:p>
          <a:r>
            <a:rPr lang="de-DE" dirty="0" err="1"/>
            <a:t>which</a:t>
          </a:r>
          <a:r>
            <a:rPr lang="de-DE" dirty="0"/>
            <a:t> </a:t>
          </a:r>
          <a:r>
            <a:rPr lang="de-DE" dirty="0" err="1"/>
            <a:t>demand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not </a:t>
          </a:r>
          <a:r>
            <a:rPr lang="de-DE" dirty="0" err="1"/>
            <a:t>yet</a:t>
          </a:r>
          <a:r>
            <a:rPr lang="de-DE" dirty="0"/>
            <a:t> </a:t>
          </a:r>
          <a:r>
            <a:rPr lang="de-DE" dirty="0" err="1"/>
            <a:t>served</a:t>
          </a:r>
          <a:r>
            <a:rPr lang="de-DE" dirty="0"/>
            <a:t>?</a:t>
          </a:r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/>
      <dgm:spPr/>
      <dgm:t>
        <a:bodyPr/>
        <a:lstStyle/>
        <a:p>
          <a:r>
            <a:rPr lang="de-DE" dirty="0" err="1"/>
            <a:t>low</a:t>
          </a:r>
          <a:r>
            <a:rPr lang="de-DE" dirty="0"/>
            <a:t> rate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utilization</a:t>
          </a:r>
          <a:endParaRPr lang="de-DE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/>
      <dgm:spPr/>
      <dgm:t>
        <a:bodyPr/>
        <a:lstStyle/>
        <a:p>
          <a:r>
            <a:rPr lang="de-DE" dirty="0" err="1"/>
            <a:t>which</a:t>
          </a:r>
          <a:r>
            <a:rPr lang="de-DE" dirty="0"/>
            <a:t> </a:t>
          </a:r>
          <a:r>
            <a:rPr lang="de-DE" dirty="0" err="1"/>
            <a:t>demand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not </a:t>
          </a:r>
          <a:r>
            <a:rPr lang="de-DE" dirty="0" err="1"/>
            <a:t>yet</a:t>
          </a:r>
          <a:r>
            <a:rPr lang="de-DE" dirty="0"/>
            <a:t> </a:t>
          </a:r>
          <a:r>
            <a:rPr lang="de-DE" dirty="0" err="1"/>
            <a:t>served</a:t>
          </a:r>
          <a:r>
            <a:rPr lang="de-DE" dirty="0"/>
            <a:t>?</a:t>
          </a:r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 custT="1"/>
      <dgm:spPr/>
      <dgm:t>
        <a:bodyPr/>
        <a:lstStyle/>
        <a:p>
          <a:r>
            <a:rPr lang="de-DE" sz="3500" dirty="0" err="1"/>
            <a:t>user</a:t>
          </a:r>
          <a:r>
            <a:rPr lang="de-DE" sz="3500" dirty="0"/>
            <a:t> </a:t>
          </a:r>
          <a:r>
            <a:rPr lang="de-DE" sz="3500" dirty="0" err="1"/>
            <a:t>behavior</a:t>
          </a:r>
          <a:endParaRPr lang="de-DE" sz="3500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 custT="1"/>
      <dgm:spPr/>
      <dgm:t>
        <a:bodyPr/>
        <a:lstStyle/>
        <a:p>
          <a:r>
            <a:rPr lang="de-DE" sz="3500" dirty="0"/>
            <a:t>Providing </a:t>
          </a:r>
          <a:r>
            <a:rPr lang="de-DE" sz="3500" dirty="0" err="1"/>
            <a:t>incentives</a:t>
          </a:r>
          <a:endParaRPr lang="de-DE" sz="3500" dirty="0"/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91762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low</a:t>
          </a:r>
          <a:r>
            <a:rPr lang="de-DE" sz="3500" kern="1200" dirty="0"/>
            <a:t> rate </a:t>
          </a:r>
          <a:r>
            <a:rPr lang="de-DE" sz="3500" kern="1200" dirty="0" err="1"/>
            <a:t>of</a:t>
          </a:r>
          <a:r>
            <a:rPr lang="de-DE" sz="3500" kern="1200" dirty="0"/>
            <a:t> </a:t>
          </a:r>
          <a:r>
            <a:rPr lang="de-DE" sz="3500" kern="1200" dirty="0" err="1"/>
            <a:t>utilization</a:t>
          </a:r>
          <a:endParaRPr lang="de-DE" sz="3500" kern="1200" dirty="0"/>
        </a:p>
      </dsp:txBody>
      <dsp:txXfrm>
        <a:off x="197080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321108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800" kern="1200"/>
        </a:p>
      </dsp:txBody>
      <dsp:txXfrm rot="-5400000">
        <a:off x="330661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91762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which</a:t>
          </a:r>
          <a:r>
            <a:rPr lang="de-DE" sz="3500" kern="1200" dirty="0"/>
            <a:t> </a:t>
          </a:r>
          <a:r>
            <a:rPr lang="de-DE" sz="3500" kern="1200" dirty="0" err="1"/>
            <a:t>demand</a:t>
          </a:r>
          <a:r>
            <a:rPr lang="de-DE" sz="3500" kern="1200" dirty="0"/>
            <a:t> </a:t>
          </a:r>
          <a:r>
            <a:rPr lang="de-DE" sz="3500" kern="1200" dirty="0" err="1"/>
            <a:t>is</a:t>
          </a:r>
          <a:r>
            <a:rPr lang="de-DE" sz="3500" kern="1200" dirty="0"/>
            <a:t> not </a:t>
          </a:r>
          <a:r>
            <a:rPr lang="de-DE" sz="3500" kern="1200" dirty="0" err="1"/>
            <a:t>yet</a:t>
          </a:r>
          <a:r>
            <a:rPr lang="de-DE" sz="3500" kern="1200" dirty="0"/>
            <a:t> </a:t>
          </a:r>
          <a:r>
            <a:rPr lang="de-DE" sz="3500" kern="1200" dirty="0" err="1"/>
            <a:t>served</a:t>
          </a:r>
          <a:r>
            <a:rPr lang="de-DE" sz="3500" kern="1200" dirty="0"/>
            <a:t>?</a:t>
          </a:r>
        </a:p>
      </dsp:txBody>
      <dsp:txXfrm>
        <a:off x="1970808" y="2777229"/>
        <a:ext cx="3161837" cy="17093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91762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low</a:t>
          </a:r>
          <a:r>
            <a:rPr lang="de-DE" sz="3500" kern="1200" dirty="0"/>
            <a:t> rate </a:t>
          </a:r>
          <a:r>
            <a:rPr lang="de-DE" sz="3500" kern="1200" dirty="0" err="1"/>
            <a:t>of</a:t>
          </a:r>
          <a:r>
            <a:rPr lang="de-DE" sz="3500" kern="1200" dirty="0"/>
            <a:t> </a:t>
          </a:r>
          <a:r>
            <a:rPr lang="de-DE" sz="3500" kern="1200" dirty="0" err="1"/>
            <a:t>utilization</a:t>
          </a:r>
          <a:endParaRPr lang="de-DE" sz="3500" kern="1200" dirty="0"/>
        </a:p>
      </dsp:txBody>
      <dsp:txXfrm>
        <a:off x="197080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321108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800" kern="1200"/>
        </a:p>
      </dsp:txBody>
      <dsp:txXfrm rot="-5400000">
        <a:off x="330661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91762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which</a:t>
          </a:r>
          <a:r>
            <a:rPr lang="de-DE" sz="3500" kern="1200" dirty="0"/>
            <a:t> </a:t>
          </a:r>
          <a:r>
            <a:rPr lang="de-DE" sz="3500" kern="1200" dirty="0" err="1"/>
            <a:t>demand</a:t>
          </a:r>
          <a:r>
            <a:rPr lang="de-DE" sz="3500" kern="1200" dirty="0"/>
            <a:t> </a:t>
          </a:r>
          <a:r>
            <a:rPr lang="de-DE" sz="3500" kern="1200" dirty="0" err="1"/>
            <a:t>is</a:t>
          </a:r>
          <a:r>
            <a:rPr lang="de-DE" sz="3500" kern="1200" dirty="0"/>
            <a:t> not </a:t>
          </a:r>
          <a:r>
            <a:rPr lang="de-DE" sz="3500" kern="1200" dirty="0" err="1"/>
            <a:t>yet</a:t>
          </a:r>
          <a:r>
            <a:rPr lang="de-DE" sz="3500" kern="1200" dirty="0"/>
            <a:t> </a:t>
          </a:r>
          <a:r>
            <a:rPr lang="de-DE" sz="3500" kern="1200" dirty="0" err="1"/>
            <a:t>served</a:t>
          </a:r>
          <a:r>
            <a:rPr lang="de-DE" sz="3500" kern="1200" dirty="0"/>
            <a:t>?</a:t>
          </a:r>
        </a:p>
      </dsp:txBody>
      <dsp:txXfrm>
        <a:off x="1970808" y="2777229"/>
        <a:ext cx="3161837" cy="17093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12024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user</a:t>
          </a:r>
          <a:r>
            <a:rPr lang="de-DE" sz="3500" kern="1200" dirty="0"/>
            <a:t> </a:t>
          </a:r>
          <a:r>
            <a:rPr lang="de-DE" sz="3500" kern="1200" dirty="0" err="1"/>
            <a:t>behavior</a:t>
          </a:r>
          <a:endParaRPr lang="de-DE" sz="3500" kern="1200" dirty="0"/>
        </a:p>
      </dsp:txBody>
      <dsp:txXfrm>
        <a:off x="117342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241370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500" kern="1200"/>
        </a:p>
      </dsp:txBody>
      <dsp:txXfrm rot="-5400000">
        <a:off x="250923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12024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/>
            <a:t>Providing </a:t>
          </a:r>
          <a:r>
            <a:rPr lang="de-DE" sz="3500" kern="1200" dirty="0" err="1"/>
            <a:t>incentives</a:t>
          </a:r>
          <a:endParaRPr lang="de-DE" sz="3500" kern="1200" dirty="0"/>
        </a:p>
      </dsp:txBody>
      <dsp:txXfrm>
        <a:off x="1173428" y="2777229"/>
        <a:ext cx="3161837" cy="17093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150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3224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5766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97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 für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59658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hr oder Fal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6046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6061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5200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1284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76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8135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31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129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646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568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55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9386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comments" Target="../comments/comment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comments" Target="../comments/comment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93CD-CFAB-47E8-B07B-B4F66A7BC5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4156" y="1463505"/>
            <a:ext cx="9733810" cy="4980838"/>
          </a:xfrm>
        </p:spPr>
        <p:txBody>
          <a:bodyPr anchor="ctr">
            <a:normAutofit/>
          </a:bodyPr>
          <a:lstStyle/>
          <a:p>
            <a:pPr algn="l"/>
            <a:r>
              <a:rPr lang="en-PH" sz="6600" dirty="0">
                <a:solidFill>
                  <a:schemeClr val="tx2"/>
                </a:solidFill>
              </a:rPr>
              <a:t>Simplifying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r>
              <a:rPr lang="de-DE" sz="6600" dirty="0" err="1">
                <a:solidFill>
                  <a:schemeClr val="tx2"/>
                </a:solidFill>
              </a:rPr>
              <a:t>recurring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r>
              <a:rPr lang="de-DE" sz="6600" dirty="0" err="1">
                <a:solidFill>
                  <a:schemeClr val="tx2"/>
                </a:solidFill>
              </a:rPr>
              <a:t>trips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br>
              <a:rPr lang="de-DE" sz="6600" dirty="0">
                <a:solidFill>
                  <a:schemeClr val="tx2"/>
                </a:solidFill>
              </a:rPr>
            </a:br>
            <a:r>
              <a:rPr lang="de-DE" sz="2800" dirty="0" err="1">
                <a:solidFill>
                  <a:schemeClr val="tx2"/>
                </a:solidFill>
              </a:rPr>
              <a:t>Improving</a:t>
            </a:r>
            <a:r>
              <a:rPr lang="de-DE" sz="2800" dirty="0">
                <a:solidFill>
                  <a:schemeClr val="tx2"/>
                </a:solidFill>
              </a:rPr>
              <a:t> </a:t>
            </a:r>
            <a:r>
              <a:rPr lang="en-US" sz="2800" b="1" dirty="0">
                <a:solidFill>
                  <a:schemeClr val="tx2"/>
                </a:solidFill>
              </a:rPr>
              <a:t>convenience</a:t>
            </a:r>
            <a:r>
              <a:rPr lang="de-DE" sz="2800" dirty="0">
                <a:solidFill>
                  <a:schemeClr val="tx2"/>
                </a:solidFill>
              </a:rPr>
              <a:t> and </a:t>
            </a:r>
            <a:r>
              <a:rPr lang="de-DE" sz="2800" b="1" dirty="0" err="1">
                <a:solidFill>
                  <a:schemeClr val="tx2"/>
                </a:solidFill>
              </a:rPr>
              <a:t>utilization</a:t>
            </a:r>
            <a:br>
              <a:rPr lang="de-DE" sz="2800" b="1" dirty="0">
                <a:solidFill>
                  <a:schemeClr val="tx2"/>
                </a:solidFill>
              </a:rPr>
            </a:br>
            <a:br>
              <a:rPr lang="de-DE" sz="2800" b="1" dirty="0">
                <a:solidFill>
                  <a:schemeClr val="tx2"/>
                </a:solidFill>
              </a:rPr>
            </a:br>
            <a:r>
              <a:rPr lang="de-DE" sz="2800" dirty="0">
                <a:solidFill>
                  <a:schemeClr val="tx2"/>
                </a:solidFill>
              </a:rPr>
              <a:t>Team </a:t>
            </a:r>
            <a:r>
              <a:rPr lang="de-DE" sz="2800" dirty="0" err="1">
                <a:solidFill>
                  <a:schemeClr val="tx2"/>
                </a:solidFill>
              </a:rPr>
              <a:t>Banh</a:t>
            </a:r>
            <a:r>
              <a:rPr lang="de-DE" sz="2800" dirty="0">
                <a:solidFill>
                  <a:schemeClr val="tx2"/>
                </a:solidFill>
              </a:rPr>
              <a:t> Mi</a:t>
            </a:r>
            <a:br>
              <a:rPr lang="de-DE" sz="2800" dirty="0">
                <a:solidFill>
                  <a:schemeClr val="tx2"/>
                </a:solidFill>
              </a:rPr>
            </a:br>
            <a:endParaRPr lang="de-DE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926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8070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C98145DB-E7EE-482D-BE8F-FA8AB2E47856}"/>
              </a:ext>
            </a:extLst>
          </p:cNvPr>
          <p:cNvGraphicFramePr/>
          <p:nvPr/>
        </p:nvGraphicFramePr>
        <p:xfrm>
          <a:off x="-608649" y="1623701"/>
          <a:ext cx="710345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206311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C98145DB-E7EE-482D-BE8F-FA8AB2E478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7091987"/>
              </p:ext>
            </p:extLst>
          </p:nvPr>
        </p:nvGraphicFramePr>
        <p:xfrm>
          <a:off x="-608649" y="1623701"/>
          <a:ext cx="710345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59501E51-947F-4DFE-9B30-6E1505739F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2824743"/>
              </p:ext>
            </p:extLst>
          </p:nvPr>
        </p:nvGraphicFramePr>
        <p:xfrm>
          <a:off x="5153114" y="1623701"/>
          <a:ext cx="550869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927900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 err="1"/>
              <a:t>recurring</a:t>
            </a:r>
            <a:r>
              <a:rPr lang="de-DE" b="1" dirty="0"/>
              <a:t> </a:t>
            </a:r>
            <a:r>
              <a:rPr lang="de-DE" b="1" dirty="0" err="1"/>
              <a:t>bookings</a:t>
            </a:r>
            <a:br>
              <a:rPr lang="de-DE" b="1" dirty="0"/>
            </a:b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Grafik 15" descr="Auto">
            <a:extLst>
              <a:ext uri="{FF2B5EF4-FFF2-40B4-BE49-F238E27FC236}">
                <a16:creationId xmlns:a16="http://schemas.microsoft.com/office/drawing/2014/main" id="{0282C004-D7E8-4B94-8960-3B224EE4A7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5625" y="2965346"/>
            <a:ext cx="1244381" cy="1244381"/>
          </a:xfrm>
          <a:prstGeom prst="rect">
            <a:avLst/>
          </a:prstGeom>
        </p:spPr>
      </p:pic>
      <p:pic>
        <p:nvPicPr>
          <p:cNvPr id="22" name="Grafik 21" descr="Tageskalender">
            <a:extLst>
              <a:ext uri="{FF2B5EF4-FFF2-40B4-BE49-F238E27FC236}">
                <a16:creationId xmlns:a16="http://schemas.microsoft.com/office/drawing/2014/main" id="{3F977AEE-B2D4-4529-909D-C270A0F0D5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94785" y="3019925"/>
            <a:ext cx="1109006" cy="11090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02D24-6789-4C16-BC7D-40493E452D32}"/>
              </a:ext>
            </a:extLst>
          </p:cNvPr>
          <p:cNvCxnSpPr>
            <a:cxnSpLocks/>
          </p:cNvCxnSpPr>
          <p:nvPr/>
        </p:nvCxnSpPr>
        <p:spPr>
          <a:xfrm flipV="1">
            <a:off x="4725241" y="403313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395CCD0-0211-4572-9A81-F0B199015DF8}"/>
              </a:ext>
            </a:extLst>
          </p:cNvPr>
          <p:cNvSpPr txBox="1"/>
          <p:nvPr/>
        </p:nvSpPr>
        <p:spPr>
          <a:xfrm>
            <a:off x="2759187" y="4559736"/>
            <a:ext cx="1990101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minde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ening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efore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B71812E-A3E4-4C00-A486-C84E57A73911}"/>
              </a:ext>
            </a:extLst>
          </p:cNvPr>
          <p:cNvCxnSpPr>
            <a:cxnSpLocks/>
          </p:cNvCxnSpPr>
          <p:nvPr/>
        </p:nvCxnSpPr>
        <p:spPr>
          <a:xfrm flipV="1">
            <a:off x="7851998" y="203838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BDE3EB8-454C-4027-93FD-169BE0DF6CEB}"/>
              </a:ext>
            </a:extLst>
          </p:cNvPr>
          <p:cNvSpPr txBox="1"/>
          <p:nvPr/>
        </p:nvSpPr>
        <p:spPr>
          <a:xfrm>
            <a:off x="7827815" y="1806961"/>
            <a:ext cx="2899954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nlock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rom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ockscree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via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otification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1AD927-388E-462B-BE33-BC75CC9F675F}"/>
              </a:ext>
            </a:extLst>
          </p:cNvPr>
          <p:cNvCxnSpPr>
            <a:cxnSpLocks/>
          </p:cNvCxnSpPr>
          <p:nvPr/>
        </p:nvCxnSpPr>
        <p:spPr>
          <a:xfrm flipV="1">
            <a:off x="4773471" y="1957590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B1AF64-989F-498B-BD9A-18F25FB5CC0F}"/>
              </a:ext>
            </a:extLst>
          </p:cNvPr>
          <p:cNvSpPr txBox="1"/>
          <p:nvPr/>
        </p:nvSpPr>
        <p:spPr>
          <a:xfrm>
            <a:off x="2241687" y="1726164"/>
            <a:ext cx="2572444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ever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ge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o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ook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08220-57AC-4D4C-A855-2DECECD96198}"/>
              </a:ext>
            </a:extLst>
          </p:cNvPr>
          <p:cNvCxnSpPr>
            <a:cxnSpLocks/>
            <a:stCxn id="27" idx="3"/>
          </p:cNvCxnSpPr>
          <p:nvPr/>
        </p:nvCxnSpPr>
        <p:spPr>
          <a:xfrm>
            <a:off x="2828364" y="3169064"/>
            <a:ext cx="1053048" cy="0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9885E5A-C252-486C-BE66-17BA9EF65B46}"/>
              </a:ext>
            </a:extLst>
          </p:cNvPr>
          <p:cNvSpPr txBox="1"/>
          <p:nvPr/>
        </p:nvSpPr>
        <p:spPr>
          <a:xfrm>
            <a:off x="1516618" y="2965346"/>
            <a:ext cx="1311746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iscounts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4843893-5FE5-4459-8503-7A846D8926A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86195">
            <a:off x="3731148" y="2620906"/>
            <a:ext cx="779524" cy="79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89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25" grpId="0" animBg="1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 err="1"/>
              <a:t>recurring</a:t>
            </a:r>
            <a:r>
              <a:rPr lang="de-DE" b="1" dirty="0"/>
              <a:t> </a:t>
            </a:r>
            <a:r>
              <a:rPr lang="de-DE" b="1" dirty="0" err="1"/>
              <a:t>bookings</a:t>
            </a:r>
            <a:br>
              <a:rPr lang="de-DE" b="1" dirty="0"/>
            </a:b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Grafik 15" descr="Auto">
            <a:extLst>
              <a:ext uri="{FF2B5EF4-FFF2-40B4-BE49-F238E27FC236}">
                <a16:creationId xmlns:a16="http://schemas.microsoft.com/office/drawing/2014/main" id="{0282C004-D7E8-4B94-8960-3B224EE4A7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5625" y="2965346"/>
            <a:ext cx="1244381" cy="1244381"/>
          </a:xfrm>
          <a:prstGeom prst="rect">
            <a:avLst/>
          </a:prstGeom>
        </p:spPr>
      </p:pic>
      <p:pic>
        <p:nvPicPr>
          <p:cNvPr id="22" name="Grafik 21" descr="Tageskalender">
            <a:extLst>
              <a:ext uri="{FF2B5EF4-FFF2-40B4-BE49-F238E27FC236}">
                <a16:creationId xmlns:a16="http://schemas.microsoft.com/office/drawing/2014/main" id="{3F977AEE-B2D4-4529-909D-C270A0F0D5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94785" y="3019925"/>
            <a:ext cx="1109006" cy="11090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02D24-6789-4C16-BC7D-40493E452D32}"/>
              </a:ext>
            </a:extLst>
          </p:cNvPr>
          <p:cNvCxnSpPr>
            <a:cxnSpLocks/>
          </p:cNvCxnSpPr>
          <p:nvPr/>
        </p:nvCxnSpPr>
        <p:spPr>
          <a:xfrm flipV="1">
            <a:off x="4725241" y="4033137"/>
            <a:ext cx="0" cy="843663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395CCD0-0211-4572-9A81-F0B199015DF8}"/>
              </a:ext>
            </a:extLst>
          </p:cNvPr>
          <p:cNvSpPr txBox="1"/>
          <p:nvPr/>
        </p:nvSpPr>
        <p:spPr>
          <a:xfrm>
            <a:off x="2759187" y="4559736"/>
            <a:ext cx="1990101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B71812E-A3E4-4C00-A486-C84E57A73911}"/>
              </a:ext>
            </a:extLst>
          </p:cNvPr>
          <p:cNvCxnSpPr>
            <a:cxnSpLocks/>
          </p:cNvCxnSpPr>
          <p:nvPr/>
        </p:nvCxnSpPr>
        <p:spPr>
          <a:xfrm flipV="1">
            <a:off x="7851998" y="203838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BDE3EB8-454C-4027-93FD-169BE0DF6CEB}"/>
              </a:ext>
            </a:extLst>
          </p:cNvPr>
          <p:cNvSpPr txBox="1"/>
          <p:nvPr/>
        </p:nvSpPr>
        <p:spPr>
          <a:xfrm>
            <a:off x="7827815" y="1806961"/>
            <a:ext cx="2899954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1AD927-388E-462B-BE33-BC75CC9F675F}"/>
              </a:ext>
            </a:extLst>
          </p:cNvPr>
          <p:cNvCxnSpPr>
            <a:cxnSpLocks/>
          </p:cNvCxnSpPr>
          <p:nvPr/>
        </p:nvCxnSpPr>
        <p:spPr>
          <a:xfrm flipV="1">
            <a:off x="4773471" y="1957590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B1AF64-989F-498B-BD9A-18F25FB5CC0F}"/>
              </a:ext>
            </a:extLst>
          </p:cNvPr>
          <p:cNvSpPr txBox="1"/>
          <p:nvPr/>
        </p:nvSpPr>
        <p:spPr>
          <a:xfrm>
            <a:off x="2241687" y="1726164"/>
            <a:ext cx="2572444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08220-57AC-4D4C-A855-2DECECD96198}"/>
              </a:ext>
            </a:extLst>
          </p:cNvPr>
          <p:cNvCxnSpPr>
            <a:cxnSpLocks/>
            <a:stCxn id="27" idx="3"/>
          </p:cNvCxnSpPr>
          <p:nvPr/>
        </p:nvCxnSpPr>
        <p:spPr>
          <a:xfrm>
            <a:off x="2828364" y="3169064"/>
            <a:ext cx="1053048" cy="0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9885E5A-C252-486C-BE66-17BA9EF65B46}"/>
              </a:ext>
            </a:extLst>
          </p:cNvPr>
          <p:cNvSpPr txBox="1"/>
          <p:nvPr/>
        </p:nvSpPr>
        <p:spPr>
          <a:xfrm>
            <a:off x="1516618" y="2965346"/>
            <a:ext cx="1311746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4843893-5FE5-4459-8503-7A846D8926A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86195">
            <a:off x="3731148" y="2620906"/>
            <a:ext cx="779524" cy="798038"/>
          </a:xfrm>
          <a:prstGeom prst="rect">
            <a:avLst/>
          </a:prstGeom>
        </p:spPr>
      </p:pic>
      <p:sp>
        <p:nvSpPr>
          <p:cNvPr id="24" name="Textfeld 2">
            <a:extLst>
              <a:ext uri="{FF2B5EF4-FFF2-40B4-BE49-F238E27FC236}">
                <a16:creationId xmlns:a16="http://schemas.microsoft.com/office/drawing/2014/main" id="{9BA62B39-8916-40C3-B48C-73BECD579AA1}"/>
              </a:ext>
            </a:extLst>
          </p:cNvPr>
          <p:cNvSpPr txBox="1"/>
          <p:nvPr/>
        </p:nvSpPr>
        <p:spPr>
          <a:xfrm>
            <a:off x="6635519" y="4887792"/>
            <a:ext cx="3794264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Planning</a:t>
            </a:r>
            <a:r>
              <a:rPr lang="de-DE" dirty="0"/>
              <a:t> </a:t>
            </a:r>
            <a:r>
              <a:rPr lang="de-DE" dirty="0" err="1"/>
              <a:t>safe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one</a:t>
            </a:r>
            <a:endParaRPr lang="de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9C5F25-78A5-42C3-87BA-89317DC7C06C}"/>
              </a:ext>
            </a:extLst>
          </p:cNvPr>
          <p:cNvSpPr/>
          <p:nvPr/>
        </p:nvSpPr>
        <p:spPr>
          <a:xfrm>
            <a:off x="6632354" y="4359681"/>
            <a:ext cx="3771641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inancial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centive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sers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B98C3A-1B37-4453-A0E9-866B561B1F26}"/>
              </a:ext>
            </a:extLst>
          </p:cNvPr>
          <p:cNvSpPr/>
          <p:nvPr/>
        </p:nvSpPr>
        <p:spPr>
          <a:xfrm>
            <a:off x="6632355" y="5415903"/>
            <a:ext cx="3797428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gher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tilizatio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rate and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s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verag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andlord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1" name="Plus Sign 30">
            <a:extLst>
              <a:ext uri="{FF2B5EF4-FFF2-40B4-BE49-F238E27FC236}">
                <a16:creationId xmlns:a16="http://schemas.microsoft.com/office/drawing/2014/main" id="{90D3A606-A72C-4029-AE62-86092263D960}"/>
              </a:ext>
            </a:extLst>
          </p:cNvPr>
          <p:cNvSpPr/>
          <p:nvPr/>
        </p:nvSpPr>
        <p:spPr>
          <a:xfrm>
            <a:off x="6157298" y="5589846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Plus Sign 31">
            <a:extLst>
              <a:ext uri="{FF2B5EF4-FFF2-40B4-BE49-F238E27FC236}">
                <a16:creationId xmlns:a16="http://schemas.microsoft.com/office/drawing/2014/main" id="{418BAA3A-FD92-4470-AC2C-C13330387FCF}"/>
              </a:ext>
            </a:extLst>
          </p:cNvPr>
          <p:cNvSpPr/>
          <p:nvPr/>
        </p:nvSpPr>
        <p:spPr>
          <a:xfrm>
            <a:off x="6157298" y="4925598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lus Sign 32">
            <a:extLst>
              <a:ext uri="{FF2B5EF4-FFF2-40B4-BE49-F238E27FC236}">
                <a16:creationId xmlns:a16="http://schemas.microsoft.com/office/drawing/2014/main" id="{10738738-AA7A-4C0F-B36D-0F31706081F2}"/>
              </a:ext>
            </a:extLst>
          </p:cNvPr>
          <p:cNvSpPr/>
          <p:nvPr/>
        </p:nvSpPr>
        <p:spPr>
          <a:xfrm>
            <a:off x="6157298" y="4399989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568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3C049BA-6E89-4F85-942C-B15C8D13833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832" y="923596"/>
            <a:ext cx="3034394" cy="3034394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292571E-2AF9-4D42-BB46-8A55A807273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9876" y="1813658"/>
            <a:ext cx="1657349" cy="1458467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E4797E63-4B46-4346-B33D-B1217EF95CEB}"/>
              </a:ext>
            </a:extLst>
          </p:cNvPr>
          <p:cNvSpPr txBox="1"/>
          <p:nvPr/>
        </p:nvSpPr>
        <p:spPr>
          <a:xfrm>
            <a:off x="3981079" y="2281282"/>
            <a:ext cx="4061234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Eco-</a:t>
            </a:r>
            <a:r>
              <a:rPr lang="de-DE" sz="2800" dirty="0" err="1"/>
              <a:t>friendliness</a:t>
            </a:r>
            <a:endParaRPr lang="de-DE" sz="2800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85863F9-9D7D-4924-BFB2-EFE9B86590DF}"/>
              </a:ext>
            </a:extLst>
          </p:cNvPr>
          <p:cNvSpPr txBox="1"/>
          <p:nvPr/>
        </p:nvSpPr>
        <p:spPr>
          <a:xfrm>
            <a:off x="3981079" y="4453887"/>
            <a:ext cx="4061235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err="1"/>
              <a:t>rewards</a:t>
            </a:r>
            <a:r>
              <a:rPr lang="de-DE" sz="2800" dirty="0"/>
              <a:t> and </a:t>
            </a:r>
            <a:r>
              <a:rPr lang="de-DE" sz="2800" dirty="0" err="1"/>
              <a:t>progres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good</a:t>
            </a:r>
            <a:r>
              <a:rPr lang="de-DE" sz="2800" dirty="0"/>
              <a:t> </a:t>
            </a:r>
            <a:r>
              <a:rPr lang="de-DE" sz="2800" dirty="0" err="1"/>
              <a:t>user</a:t>
            </a:r>
            <a:r>
              <a:rPr lang="de-DE" sz="2800" dirty="0"/>
              <a:t> </a:t>
            </a:r>
            <a:r>
              <a:rPr lang="de-DE" sz="2800" dirty="0" err="1"/>
              <a:t>behaviour</a:t>
            </a:r>
            <a:endParaRPr lang="de-DE" sz="2800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8DDE49E-F14B-4024-905F-B954FD66F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/>
              <a:t>Gamification</a:t>
            </a:r>
            <a:br>
              <a:rPr lang="de-DE" b="1" dirty="0"/>
            </a:br>
            <a:endParaRPr lang="de-DE" dirty="0"/>
          </a:p>
        </p:txBody>
      </p:sp>
      <p:pic>
        <p:nvPicPr>
          <p:cNvPr id="8" name="Graphic 7" descr="Stars">
            <a:extLst>
              <a:ext uri="{FF2B5EF4-FFF2-40B4-BE49-F238E27FC236}">
                <a16:creationId xmlns:a16="http://schemas.microsoft.com/office/drawing/2014/main" id="{8AF38BDA-CD5E-4D09-AC7C-282DAEA88C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9516" y="4271986"/>
            <a:ext cx="1343025" cy="134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91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9F26095-2F2B-4A01-B845-2F3829897A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716" y="508519"/>
            <a:ext cx="3228683" cy="57398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527538F-4D4B-44BA-A2B3-F54AD2CC4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/>
          </a:bodyPr>
          <a:lstStyle/>
          <a:p>
            <a:r>
              <a:rPr lang="de-DE" dirty="0" err="1"/>
              <a:t>Clickable</a:t>
            </a:r>
            <a:r>
              <a:rPr lang="de-DE" dirty="0"/>
              <a:t> </a:t>
            </a:r>
            <a:r>
              <a:rPr lang="de-DE" dirty="0" err="1"/>
              <a:t>mockup</a:t>
            </a:r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912BB7A-1863-4CF9-B52C-2D8A6CE47D02}"/>
              </a:ext>
            </a:extLst>
          </p:cNvPr>
          <p:cNvSpPr txBox="1">
            <a:spLocks/>
          </p:cNvSpPr>
          <p:nvPr/>
        </p:nvSpPr>
        <p:spPr>
          <a:xfrm>
            <a:off x="2031024" y="3506280"/>
            <a:ext cx="4486274" cy="10138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000" dirty="0"/>
              <a:t>Implementation</a:t>
            </a:r>
            <a:r>
              <a:rPr lang="de-DE" sz="2400" dirty="0"/>
              <a:t> WIP…</a:t>
            </a:r>
          </a:p>
        </p:txBody>
      </p:sp>
    </p:spTree>
    <p:extLst>
      <p:ext uri="{BB962C8B-B14F-4D97-AF65-F5344CB8AC3E}">
        <p14:creationId xmlns:p14="http://schemas.microsoft.com/office/powerpoint/2010/main" val="1440903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723900"/>
          </a:xfrm>
        </p:spPr>
        <p:txBody>
          <a:bodyPr>
            <a:normAutofit/>
          </a:bodyPr>
          <a:lstStyle/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de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E7DA26-504D-499F-8904-55D2D15007AA}"/>
              </a:ext>
            </a:extLst>
          </p:cNvPr>
          <p:cNvSpPr/>
          <p:nvPr/>
        </p:nvSpPr>
        <p:spPr>
          <a:xfrm>
            <a:off x="1179261" y="298450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Client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1DFDC7-7ACB-4EC8-8455-899BFCC963C7}"/>
              </a:ext>
            </a:extLst>
          </p:cNvPr>
          <p:cNvSpPr/>
          <p:nvPr/>
        </p:nvSpPr>
        <p:spPr>
          <a:xfrm>
            <a:off x="5090371" y="298450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Server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A53803-8641-4A04-ACC5-F1B2A72BC3DB}"/>
              </a:ext>
            </a:extLst>
          </p:cNvPr>
          <p:cNvSpPr/>
          <p:nvPr/>
        </p:nvSpPr>
        <p:spPr>
          <a:xfrm>
            <a:off x="1179261" y="208915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GUI (</a:t>
            </a:r>
            <a:r>
              <a:rPr lang="de-DE" sz="2400" b="1" dirty="0" err="1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Kivy</a:t>
            </a:r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)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D912FF-AD61-4743-B3A3-71AA97BB4D6F}"/>
              </a:ext>
            </a:extLst>
          </p:cNvPr>
          <p:cNvSpPr/>
          <p:nvPr/>
        </p:nvSpPr>
        <p:spPr>
          <a:xfrm>
            <a:off x="9001482" y="298450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Datenbank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E70C4C-27E4-4AE9-B840-63EB328EF6C4}"/>
              </a:ext>
            </a:extLst>
          </p:cNvPr>
          <p:cNvSpPr/>
          <p:nvPr/>
        </p:nvSpPr>
        <p:spPr>
          <a:xfrm>
            <a:off x="9001482" y="4473575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Datenbank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7EEF4A3-EB36-4E23-A247-D3D088890C6C}"/>
              </a:ext>
            </a:extLst>
          </p:cNvPr>
          <p:cNvCxnSpPr>
            <a:stCxn id="3" idx="3"/>
            <a:endCxn id="7" idx="1"/>
          </p:cNvCxnSpPr>
          <p:nvPr/>
        </p:nvCxnSpPr>
        <p:spPr>
          <a:xfrm>
            <a:off x="3036636" y="3432175"/>
            <a:ext cx="2053735" cy="0"/>
          </a:xfrm>
          <a:prstGeom prst="straightConnector1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2BA57FE-D57D-440B-A4B7-6D65E15F0E0B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>
            <a:off x="6947746" y="3432175"/>
            <a:ext cx="2053736" cy="0"/>
          </a:xfrm>
          <a:prstGeom prst="straightConnector1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A0145614-70A1-4BEC-BD5C-0994DB0662CF}"/>
              </a:ext>
            </a:extLst>
          </p:cNvPr>
          <p:cNvCxnSpPr>
            <a:stCxn id="7" idx="2"/>
            <a:endCxn id="10" idx="1"/>
          </p:cNvCxnSpPr>
          <p:nvPr/>
        </p:nvCxnSpPr>
        <p:spPr>
          <a:xfrm rot="16200000" flipH="1">
            <a:off x="6989570" y="2909338"/>
            <a:ext cx="1041400" cy="2982423"/>
          </a:xfrm>
          <a:prstGeom prst="bentConnector2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D877B0B-4ED4-4E1A-8D4E-43DCA078C416}"/>
              </a:ext>
            </a:extLst>
          </p:cNvPr>
          <p:cNvSpPr/>
          <p:nvPr/>
        </p:nvSpPr>
        <p:spPr>
          <a:xfrm>
            <a:off x="3148755" y="2727325"/>
            <a:ext cx="1857375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Bottl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20FBF10-AFEF-47AE-AEAB-E0C236A94612}"/>
              </a:ext>
            </a:extLst>
          </p:cNvPr>
          <p:cNvSpPr/>
          <p:nvPr/>
        </p:nvSpPr>
        <p:spPr>
          <a:xfrm>
            <a:off x="7031987" y="2727325"/>
            <a:ext cx="1857375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API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EBA142-A208-499F-AFBD-8C8A9B3BE3FF}"/>
              </a:ext>
            </a:extLst>
          </p:cNvPr>
          <p:cNvSpPr/>
          <p:nvPr/>
        </p:nvSpPr>
        <p:spPr>
          <a:xfrm>
            <a:off x="6362901" y="4159250"/>
            <a:ext cx="2174237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Hack: Pickl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15" name="Plus Sign 14">
            <a:extLst>
              <a:ext uri="{FF2B5EF4-FFF2-40B4-BE49-F238E27FC236}">
                <a16:creationId xmlns:a16="http://schemas.microsoft.com/office/drawing/2014/main" id="{36B50424-725E-4E88-ABDA-1315E16E14AE}"/>
              </a:ext>
            </a:extLst>
          </p:cNvPr>
          <p:cNvSpPr/>
          <p:nvPr/>
        </p:nvSpPr>
        <p:spPr>
          <a:xfrm>
            <a:off x="653474" y="5067331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inus Sign 15">
            <a:extLst>
              <a:ext uri="{FF2B5EF4-FFF2-40B4-BE49-F238E27FC236}">
                <a16:creationId xmlns:a16="http://schemas.microsoft.com/office/drawing/2014/main" id="{F31C264A-279F-4295-8084-93965EA0409A}"/>
              </a:ext>
            </a:extLst>
          </p:cNvPr>
          <p:cNvSpPr/>
          <p:nvPr/>
        </p:nvSpPr>
        <p:spPr>
          <a:xfrm>
            <a:off x="659210" y="5814068"/>
            <a:ext cx="360000" cy="360000"/>
          </a:xfrm>
          <a:prstGeom prst="mathMin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42D73B-8A25-4BEA-8566-CBC16D8986D4}"/>
              </a:ext>
            </a:extLst>
          </p:cNvPr>
          <p:cNvSpPr/>
          <p:nvPr/>
        </p:nvSpPr>
        <p:spPr>
          <a:xfrm>
            <a:off x="1172774" y="5016500"/>
            <a:ext cx="4035489" cy="4070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any nice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ibarie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ython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154770-69BB-434B-A7DE-1F1FC0E0E0E8}"/>
              </a:ext>
            </a:extLst>
          </p:cNvPr>
          <p:cNvSpPr/>
          <p:nvPr/>
        </p:nvSpPr>
        <p:spPr>
          <a:xfrm>
            <a:off x="1172774" y="5614013"/>
            <a:ext cx="4035489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ore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xperienc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ith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pplicatio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and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rontend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eeded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Plus Sign 25">
            <a:extLst>
              <a:ext uri="{FF2B5EF4-FFF2-40B4-BE49-F238E27FC236}">
                <a16:creationId xmlns:a16="http://schemas.microsoft.com/office/drawing/2014/main" id="{7DA73780-B513-4D96-B714-18F5D8E8E572}"/>
              </a:ext>
            </a:extLst>
          </p:cNvPr>
          <p:cNvSpPr/>
          <p:nvPr/>
        </p:nvSpPr>
        <p:spPr>
          <a:xfrm>
            <a:off x="653474" y="4508586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35F6400-136B-494F-A474-7C32FD607CA6}"/>
              </a:ext>
            </a:extLst>
          </p:cNvPr>
          <p:cNvSpPr/>
          <p:nvPr/>
        </p:nvSpPr>
        <p:spPr>
          <a:xfrm>
            <a:off x="1172774" y="4457755"/>
            <a:ext cx="4035489" cy="4070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asy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o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mplemen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in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incipl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33178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4" grpId="0" animBg="1"/>
      <p:bldP spid="25" grpId="0" animBg="1"/>
      <p:bldP spid="26" grpId="0" animBg="1"/>
      <p:bldP spid="2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heme/theme1.xml><?xml version="1.0" encoding="utf-8"?>
<a:theme xmlns:a="http://schemas.openxmlformats.org/drawingml/2006/main" name="Facette">
  <a:themeElements>
    <a:clrScheme name="Blau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Facette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t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2</Words>
  <Application>Microsoft Office PowerPoint</Application>
  <PresentationFormat>Widescreen</PresentationFormat>
  <Paragraphs>36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haroni</vt:lpstr>
      <vt:lpstr>Arial</vt:lpstr>
      <vt:lpstr>Trebuchet MS</vt:lpstr>
      <vt:lpstr>Wingdings 3</vt:lpstr>
      <vt:lpstr>Facette</vt:lpstr>
      <vt:lpstr>Simplifying recurring trips  Improving convenience and utilization  Team Banh Mi </vt:lpstr>
      <vt:lpstr>Our approach</vt:lpstr>
      <vt:lpstr>Our approach</vt:lpstr>
      <vt:lpstr>Our approach</vt:lpstr>
      <vt:lpstr>Feature recurring bookings </vt:lpstr>
      <vt:lpstr>Feature recurring bookings </vt:lpstr>
      <vt:lpstr>Feature Gamification </vt:lpstr>
      <vt:lpstr>Clickable mockup</vt:lpstr>
      <vt:lpstr>Presentation of Co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ving the planet - with routines</dc:title>
  <dc:creator>Kevin Cieslik</dc:creator>
  <cp:lastModifiedBy>Alexander Helber</cp:lastModifiedBy>
  <cp:revision>27</cp:revision>
  <dcterms:created xsi:type="dcterms:W3CDTF">2019-10-17T22:55:25Z</dcterms:created>
  <dcterms:modified xsi:type="dcterms:W3CDTF">2019-10-18T13:59:48Z</dcterms:modified>
</cp:coreProperties>
</file>